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12507" r:id="rId5"/>
    <p:sldId id="12515" r:id="rId6"/>
    <p:sldId id="12509" r:id="rId7"/>
    <p:sldId id="12510" r:id="rId8"/>
    <p:sldId id="12511" r:id="rId9"/>
  </p:sldIdLst>
  <p:sldSz cx="12192000" cy="6858000"/>
  <p:notesSz cx="6858000" cy="9144000"/>
  <p:custDataLst>
    <p:tags r:id="rId11"/>
  </p:custDataLst>
  <p:defaultTextStyle>
    <a:defPPr>
      <a:defRPr lang="ja-JP"/>
    </a:defPPr>
    <a:lvl1pPr marL="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pos="7514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80CFD7"/>
    <a:srgbClr val="88D2D9"/>
    <a:srgbClr val="58C9D9"/>
    <a:srgbClr val="002060"/>
    <a:srgbClr val="D9D9D9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37F4E2-E6F0-4CC1-8F8C-6B2F138A4182}" v="3668" dt="2025-12-10T06:46:37.730"/>
    <p1510:client id="{ED9BF2D0-218B-0B4E-AFDF-2F78739D87E3}" v="6" dt="2025-12-10T05:43:47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226" y="130"/>
      </p:cViewPr>
      <p:guideLst>
        <p:guide orient="horz" pos="2160"/>
        <p:guide pos="3840"/>
        <p:guide pos="166"/>
        <p:guide orient="horz" pos="4201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0993-0F22-40E6-B871-66CDD0D9B4E4}" type="datetimeFigureOut">
              <a:rPr kumimoji="1" lang="ja-JP" altLang="en-US" smtClean="0"/>
              <a:t>2025/12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C95B-A064-4667-A699-44B9F17020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443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1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333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3561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709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287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4C6B0441-045B-4F27-C74B-D0F9BAA002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310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99" imgH="499" progId="TCLayout.ActiveDocument.1">
                  <p:embed/>
                </p:oleObj>
              </mc:Choice>
              <mc:Fallback>
                <p:oleObj name="think-cellスライド" r:id="rId3" imgW="499" imgH="499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6B0441-045B-4F27-C74B-D0F9BAA00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04584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A0672DC-79FB-C910-BDD1-02DCB38A2D2C}"/>
              </a:ext>
            </a:extLst>
          </p:cNvPr>
          <p:cNvGrpSpPr/>
          <p:nvPr userDrawn="1"/>
        </p:nvGrpSpPr>
        <p:grpSpPr>
          <a:xfrm>
            <a:off x="264294" y="882837"/>
            <a:ext cx="11663412" cy="5612828"/>
            <a:chOff x="623522" y="882837"/>
            <a:chExt cx="11663412" cy="5612828"/>
          </a:xfrm>
        </p:grpSpPr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CFA0211F-4CFB-F40F-2DDC-86297C1145B0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1E8C9CF-A1F7-1B93-6162-C8ECCF3D2EDE}"/>
                </a:ext>
              </a:extLst>
            </p:cNvPr>
            <p:cNvSpPr/>
            <p:nvPr/>
          </p:nvSpPr>
          <p:spPr>
            <a:xfrm>
              <a:off x="627366" y="882837"/>
              <a:ext cx="11655724" cy="26968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ja-JP" altLang="en-US" sz="1100" b="1" spc="300"/>
                <a:t>取組みのポイント</a:t>
              </a: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3ED68E8-91C0-F95F-4C90-FA3A8DF8CFD4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</p:grp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24CFCAF-A973-E8BC-5C27-D3610A7DC802}"/>
              </a:ext>
            </a:extLst>
          </p:cNvPr>
          <p:cNvCxnSpPr>
            <a:stCxn id="4" idx="2"/>
            <a:endCxn id="3" idx="2"/>
          </p:cNvCxnSpPr>
          <p:nvPr userDrawn="1"/>
        </p:nvCxnSpPr>
        <p:spPr>
          <a:xfrm>
            <a:off x="6096000" y="1152525"/>
            <a:ext cx="0" cy="53431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22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0A4086F-9341-3260-1254-7C396FB981CB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①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F7922C1-2AE1-97A9-F17C-A21EF5851C5E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4565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BCE73A8-DED3-40A5-023E-57D2C804BD09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②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E373648-3B9A-A51C-CB2B-6505DB9191A1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0633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E8413F63-03CB-B0A9-2A76-D4195823515C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③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0F69A1-AA91-10FA-CF80-6FFC04895413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831658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96C1C-90EA-780D-557A-CD13A1139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7911126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8" imgW="416" imgH="416" progId="TCLayout.ActiveDocument.1">
                  <p:embed/>
                </p:oleObj>
              </mc:Choice>
              <mc:Fallback>
                <p:oleObj name="think-cellスライド" r:id="rId8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96C1C-90EA-780D-557A-CD13A1139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 descr="図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C616A1BF-1A90-FBC6-CCF8-B6BDC95501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799" y="111307"/>
            <a:ext cx="1792800" cy="30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1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表 50">
            <a:extLst>
              <a:ext uri="{FF2B5EF4-FFF2-40B4-BE49-F238E27FC236}">
                <a16:creationId xmlns:a16="http://schemas.microsoft.com/office/drawing/2014/main" id="{235DB7BA-A186-9404-0698-13F655AF38B0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1073018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/>
                        <a:t>会社名</a:t>
                      </a:r>
                      <a:r>
                        <a:rPr kumimoji="1" lang="en-US" altLang="ja-JP" sz="1100"/>
                        <a:t>/</a:t>
                      </a:r>
                      <a:r>
                        <a:rPr kumimoji="1" lang="ja-JP" altLang="en-US" sz="1100"/>
                        <a:t>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4" name="表 50">
            <a:extLst>
              <a:ext uri="{FF2B5EF4-FFF2-40B4-BE49-F238E27FC236}">
                <a16:creationId xmlns:a16="http://schemas.microsoft.com/office/drawing/2014/main" id="{8C9D3198-DB3B-94EF-39AF-82611BBDE205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3824906"/>
          <a:ext cx="5400000" cy="1157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事業内容</a:t>
                      </a:r>
                      <a:endParaRPr kumimoji="1" lang="ja-JP" alt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5" name="表 50">
            <a:extLst>
              <a:ext uri="{FF2B5EF4-FFF2-40B4-BE49-F238E27FC236}">
                <a16:creationId xmlns:a16="http://schemas.microsoft.com/office/drawing/2014/main" id="{7C2FC481-6E2B-0FE9-28B1-D9459A9ACAAC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1073018"/>
          <a:ext cx="5400000" cy="15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個人の自律的な成長による持続的な企業価値の向上に取組む目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背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目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222659"/>
                  </a:ext>
                </a:extLst>
              </a:tr>
            </a:tbl>
          </a:graphicData>
        </a:graphic>
      </p:graphicFrame>
      <p:graphicFrame>
        <p:nvGraphicFramePr>
          <p:cNvPr id="126" name="表 50">
            <a:extLst>
              <a:ext uri="{FF2B5EF4-FFF2-40B4-BE49-F238E27FC236}">
                <a16:creationId xmlns:a16="http://schemas.microsoft.com/office/drawing/2014/main" id="{FA969CAD-1CB0-FE0E-5B75-5401EF8FE282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2845644"/>
          <a:ext cx="5400000" cy="15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社の求めるキャリアオーナーシップを発揮し、自身と組織の成長に貢献する人材の要件（人物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0975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7" name="表 50">
            <a:extLst>
              <a:ext uri="{FF2B5EF4-FFF2-40B4-BE49-F238E27FC236}">
                <a16:creationId xmlns:a16="http://schemas.microsoft.com/office/drawing/2014/main" id="{0C84732C-8C1C-1D42-A7F1-5355038BFD62}"/>
              </a:ext>
            </a:extLst>
          </p:cNvPr>
          <p:cNvGraphicFramePr>
            <a:graphicFrameLocks noGrp="1"/>
          </p:cNvGraphicFramePr>
          <p:nvPr/>
        </p:nvGraphicFramePr>
        <p:xfrm>
          <a:off x="6305718" y="4618272"/>
          <a:ext cx="5400000" cy="1548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経営層</a:t>
                      </a:r>
                      <a:r>
                        <a:rPr kumimoji="1" lang="en-US" altLang="ja-JP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全社の推進へのコミットメント状況</a:t>
                      </a:r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16881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3661854-A3F3-EC75-5AF5-93B0E57DC88D}"/>
              </a:ext>
            </a:extLst>
          </p:cNvPr>
          <p:cNvSpPr txBox="1"/>
          <p:nvPr/>
        </p:nvSpPr>
        <p:spPr>
          <a:xfrm>
            <a:off x="335122" y="371848"/>
            <a:ext cx="7746031" cy="6643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br>
              <a:rPr lang="en-US" altLang="ja-JP" sz="2117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（大企業の部 </a:t>
            </a:r>
            <a:r>
              <a:rPr lang="en-US" altLang="ja-JP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/ </a:t>
            </a: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中堅・中小企業の部）</a:t>
            </a:r>
            <a:endParaRPr lang="ja-JP" altLang="en-US" sz="2117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D3B0DB2B-2870-2775-9A2C-A05871932D9E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2771658"/>
          <a:ext cx="5400000" cy="862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従業員数</a:t>
                      </a:r>
                      <a:br>
                        <a:rPr kumimoji="1" lang="en-US" altLang="ja-JP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（エントリー内容の影響範囲｜例：国内従業員のみへの場合は海外の従業員を除いてください）</a:t>
                      </a:r>
                      <a:br>
                        <a:rPr kumimoji="1" lang="en-US" altLang="ja-JP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en-US" altLang="ja-JP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※</a:t>
                      </a: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ホールディングス経営等の場合は影響を及ぼすグループ総従業員数を記載ください。</a:t>
                      </a:r>
                      <a:endParaRPr kumimoji="1" lang="en-US" altLang="ja-JP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D838209-FD49-C403-8201-1C1B57762593}"/>
              </a:ext>
            </a:extLst>
          </p:cNvPr>
          <p:cNvGraphicFramePr>
            <a:graphicFrameLocks noGrp="1"/>
          </p:cNvGraphicFramePr>
          <p:nvPr/>
        </p:nvGraphicFramePr>
        <p:xfrm>
          <a:off x="481909" y="1922338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会社</a:t>
                      </a:r>
                      <a:r>
                        <a:rPr kumimoji="1" lang="en-US" altLang="ja-JP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団体のサイト</a:t>
                      </a:r>
                      <a:r>
                        <a:rPr kumimoji="1" lang="en-US" altLang="ja-JP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5" name="表 50">
            <a:extLst>
              <a:ext uri="{FF2B5EF4-FFF2-40B4-BE49-F238E27FC236}">
                <a16:creationId xmlns:a16="http://schemas.microsoft.com/office/drawing/2014/main" id="{43F59469-7F17-3645-EBA6-946A5B5B1A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3213652"/>
              </p:ext>
            </p:extLst>
          </p:nvPr>
        </p:nvGraphicFramePr>
        <p:xfrm>
          <a:off x="481909" y="5172753"/>
          <a:ext cx="5399999" cy="132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337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2205634">
                  <a:extLst>
                    <a:ext uri="{9D8B030D-6E8A-4147-A177-3AD203B41FA5}">
                      <a16:colId xmlns:a16="http://schemas.microsoft.com/office/drawing/2014/main" val="2595377028"/>
                    </a:ext>
                  </a:extLst>
                </a:gridCol>
                <a:gridCol w="456337">
                  <a:extLst>
                    <a:ext uri="{9D8B030D-6E8A-4147-A177-3AD203B41FA5}">
                      <a16:colId xmlns:a16="http://schemas.microsoft.com/office/drawing/2014/main" val="188764394"/>
                    </a:ext>
                  </a:extLst>
                </a:gridCol>
                <a:gridCol w="2281691">
                  <a:extLst>
                    <a:ext uri="{9D8B030D-6E8A-4147-A177-3AD203B41FA5}">
                      <a16:colId xmlns:a16="http://schemas.microsoft.com/office/drawing/2014/main" val="4175860395"/>
                    </a:ext>
                  </a:extLst>
                </a:gridCol>
              </a:tblGrid>
              <a:tr h="331200">
                <a:tc gridSpan="4">
                  <a:txBody>
                    <a:bodyPr/>
                    <a:lstStyle/>
                    <a:p>
                      <a:pPr algn="l"/>
                      <a:r>
                        <a:rPr kumimoji="1" lang="ja-JP" altLang="en-US" sz="1000"/>
                        <a:t>アピールしたい領域に●を記載ください　</a:t>
                      </a:r>
                      <a:r>
                        <a:rPr kumimoji="1" lang="en-US" altLang="ja-JP" sz="1000"/>
                        <a:t>(</a:t>
                      </a:r>
                      <a:r>
                        <a:rPr kumimoji="1" lang="ja-JP" altLang="en-US" sz="1000"/>
                        <a:t>複数可）</a:t>
                      </a:r>
                      <a:endParaRPr kumimoji="1" lang="en-US" altLang="ja-JP" sz="10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ctr"/>
                      <a:endParaRPr kumimoji="1" lang="ja-JP" altLang="en-US" sz="8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人事</a:t>
                      </a:r>
                      <a:r>
                        <a:rPr kumimoji="1" lang="en-US" altLang="ja-JP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HR</a:t>
                      </a: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の変革</a:t>
                      </a:r>
                      <a:endParaRPr kumimoji="1" lang="ja-JP" alt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マネジメントの変革</a:t>
                      </a:r>
                      <a:endParaRPr kumimoji="1" lang="ja-JP" alt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ctr"/>
                      <a:endParaRPr kumimoji="1" lang="ja-JP" altLang="en-US" sz="8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企業文化の変革</a:t>
                      </a:r>
                      <a:endParaRPr kumimoji="1" lang="en-US" altLang="ja-JP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キャリアの変革</a:t>
                      </a:r>
                      <a:endParaRPr kumimoji="1" lang="ja-JP" alt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511059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ctr"/>
                      <a:endParaRPr kumimoji="1" lang="ja-JP" altLang="en-US" sz="80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採用の変革</a:t>
                      </a:r>
                      <a:endParaRPr kumimoji="1" lang="en-US" altLang="ja-JP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651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312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6A293F1-1F20-5C51-94F5-5239E0E9B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16" imgH="416" progId="TCLayout.ActiveDocument.1">
                  <p:embed/>
                </p:oleObj>
              </mc:Choice>
              <mc:Fallback>
                <p:oleObj name="think-cellスライド" r:id="rId4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293F1-1F20-5C51-94F5-5239E0E9B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EE6E461-5E86-75CE-0786-7EB3DF18EC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6875" y="1226072"/>
          <a:ext cx="5760000" cy="133396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>
                          <a:solidFill>
                            <a:schemeClr val="tx1"/>
                          </a:solidFill>
                        </a:rPr>
                        <a:t>① 背景・課題設定　</a:t>
                      </a: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解決したいと考えた背景や設定した課題など</a:t>
                      </a:r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194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② コンセプト・アイデア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施策の全体設計、課題を解決するコンセプト、新規性のポイント、</a:t>
                      </a:r>
                      <a:br>
                        <a:rPr kumimoji="1" lang="en-US" altLang="ja-JP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律・自走した人材と事業成長のつながり（期待する事業インパクト）など</a:t>
                      </a:r>
                      <a:endParaRPr kumimoji="1" lang="ja-JP" altLang="en-US" sz="80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EE3C5346-738D-901F-E19D-698C9B7B2A5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140746" y="1226072"/>
          <a:ext cx="5760000" cy="133348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>
                          <a:solidFill>
                            <a:schemeClr val="tx1"/>
                          </a:solidFill>
                        </a:rPr>
                        <a:t>③ 実施内容　</a:t>
                      </a: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具体的に実行した取組み、それぞれのゴール設定など</a:t>
                      </a:r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480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>
                          <a:solidFill>
                            <a:schemeClr val="tx1"/>
                          </a:solidFill>
                        </a:rPr>
                        <a:t>④ 成果</a:t>
                      </a: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みがもたらした定量的な成果、定性的な社内の影響、事業インパクトなど</a:t>
                      </a:r>
                      <a:endParaRPr kumimoji="1" lang="ja-JP" altLang="en-US" sz="80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F197918-1370-FFA8-FE6B-1039CC61D0F9}"/>
              </a:ext>
            </a:extLst>
          </p:cNvPr>
          <p:cNvSpPr txBox="1"/>
          <p:nvPr/>
        </p:nvSpPr>
        <p:spPr>
          <a:xfrm>
            <a:off x="298994" y="362331"/>
            <a:ext cx="5912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600" b="1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234BD0C-28C1-1FD4-0343-EFDAF8220F65}"/>
              </a:ext>
            </a:extLst>
          </p:cNvPr>
          <p:cNvSpPr txBox="1"/>
          <p:nvPr/>
        </p:nvSpPr>
        <p:spPr>
          <a:xfrm>
            <a:off x="298994" y="6495669"/>
            <a:ext cx="54168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 b="1"/>
              <a:t>※</a:t>
            </a:r>
            <a:r>
              <a:rPr kumimoji="1" lang="ja-JP" altLang="en-US" sz="800" b="1"/>
              <a:t>記載するにあたってアピールしたい情報は色を付ける、太字にする等の視覚的に加工しても問題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3198688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5E0BE9C-383C-DA88-E3E8-6D40D2F57AA6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019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17A38DA-28A8-3D82-9758-18A29CD24DD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72009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5E4B05-9DDD-9DF4-0971-83F43E54ABA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6</a:t>
            </a:r>
            <a:r>
              <a:rPr lang="ja-JP" altLang="en-US" sz="1400" b="1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67802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81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m/%d（%a）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21703100000000041803E+00&quot;&gt;&lt;m_msothmcolidx val=&quot;0&quot;/&gt;&lt;m_rgb r=&quot;FF&quot; g=&quot;00&quot; b=&quot;00&quot;/&gt;&lt;/elem&gt;&lt;elem m_fUsage=&quot;8.65717389000000170363E-01&quot;&gt;&lt;m_msothmcolidx val=&quot;0&quot;/&gt;&lt;m_rgb r=&quot;D4&quot; g=&quot;18&quot; b=&quot;0D&quot;/&gt;&lt;/elem&gt;&lt;elem m_fUsage=&quot;4.30467210000000155556E-01&quot;&gt;&lt;m_msothmcolidx val=&quot;0&quot;/&gt;&lt;m_rgb r=&quot;E1&quot; g=&quot;34&quot; b=&quot;0E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C46BA58A296F7488017BBC04AF6B09F" ma:contentTypeVersion="13" ma:contentTypeDescription="新しいドキュメントを作成します。" ma:contentTypeScope="" ma:versionID="46a96d33eb0370a951d9a95d4f6d748b">
  <xsd:schema xmlns:xsd="http://www.w3.org/2001/XMLSchema" xmlns:xs="http://www.w3.org/2001/XMLSchema" xmlns:p="http://schemas.microsoft.com/office/2006/metadata/properties" xmlns:ns2="4344c427-5f09-4408-b217-badd3d49278a" xmlns:ns3="18737043-e87c-435f-aab9-0ee90519c653" targetNamespace="http://schemas.microsoft.com/office/2006/metadata/properties" ma:root="true" ma:fieldsID="d609d15543977c45f5ded73dcd404464" ns2:_="" ns3:_="">
    <xsd:import namespace="4344c427-5f09-4408-b217-badd3d49278a"/>
    <xsd:import namespace="18737043-e87c-435f-aab9-0ee90519c6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4c427-5f09-4408-b217-badd3d4927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785717d7-19ec-47d4-9288-ce56b1256b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37043-e87c-435f-aab9-0ee90519c6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5110bb7-f7c8-48c6-b1dd-5fd9abe0c5ff}" ma:internalName="TaxCatchAll" ma:showField="CatchAllData" ma:web="18737043-e87c-435f-aab9-0ee90519c6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44c427-5f09-4408-b217-badd3d49278a">
      <Terms xmlns="http://schemas.microsoft.com/office/infopath/2007/PartnerControls"/>
    </lcf76f155ced4ddcb4097134ff3c332f>
    <TaxCatchAll xmlns="18737043-e87c-435f-aab9-0ee90519c653" xsi:nil="true"/>
  </documentManagement>
</p:properties>
</file>

<file path=customXml/itemProps1.xml><?xml version="1.0" encoding="utf-8"?>
<ds:datastoreItem xmlns:ds="http://schemas.openxmlformats.org/officeDocument/2006/customXml" ds:itemID="{06CCC9AD-6B93-4C83-B53D-F19706B457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BE67DF-AEB8-4D0C-9FB8-F892975D40FE}"/>
</file>

<file path=customXml/itemProps3.xml><?xml version="1.0" encoding="utf-8"?>
<ds:datastoreItem xmlns:ds="http://schemas.openxmlformats.org/officeDocument/2006/customXml" ds:itemID="{030B044D-38A9-4865-B967-A7BE3D6C4B31}">
  <ds:schemaRefs>
    <ds:schemaRef ds:uri="http://schemas.microsoft.com/office/2006/metadata/properties"/>
    <ds:schemaRef ds:uri="b2f2ad10-3107-48b7-9769-0eb5b06e1a2c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0b251fbf-f222-492f-96b0-12b9c429ae14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49</Words>
  <Application>Microsoft Office PowerPoint</Application>
  <PresentationFormat>ワイド画面</PresentationFormat>
  <Paragraphs>44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0" baseType="lpstr">
      <vt:lpstr>Yu Gothic</vt:lpstr>
      <vt:lpstr>Yu Gothic</vt:lpstr>
      <vt:lpstr>Arial</vt:lpstr>
      <vt:lpstr>Office テーマ</vt:lpstr>
      <vt:lpstr>think-cell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電通</dc:creator>
  <cp:lastModifiedBy>飯塚 勤 Tsutomu Iizuka</cp:lastModifiedBy>
  <cp:revision>5</cp:revision>
  <dcterms:created xsi:type="dcterms:W3CDTF">2023-10-06T07:34:44Z</dcterms:created>
  <dcterms:modified xsi:type="dcterms:W3CDTF">2025-12-10T06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46BA58A296F7488017BBC04AF6B09F</vt:lpwstr>
  </property>
  <property fmtid="{D5CDD505-2E9C-101B-9397-08002B2CF9AE}" pid="3" name="MediaServiceImageTags">
    <vt:lpwstr/>
  </property>
</Properties>
</file>